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624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8C021AA3-F101-48AD-A8CF-554801ACB00F}"/>
    <pc:docChg chg="modSld">
      <pc:chgData name="Weigel Stefan (PAR-EPS)" userId="fd3b2067-2981-4ad8-bf3a-d2e1004e4fa8" providerId="ADAL" clId="{8C021AA3-F101-48AD-A8CF-554801ACB00F}" dt="2024-02-02T09:40:23.281" v="58" actId="27918"/>
      <pc:docMkLst>
        <pc:docMk/>
      </pc:docMkLst>
      <pc:sldChg chg="modSp mod">
        <pc:chgData name="Weigel Stefan (PAR-EPS)" userId="fd3b2067-2981-4ad8-bf3a-d2e1004e4fa8" providerId="ADAL" clId="{8C021AA3-F101-48AD-A8CF-554801ACB00F}" dt="2024-02-02T09:40:23.281" v="58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8C021AA3-F101-48AD-A8CF-554801ACB00F}" dt="2024-02-02T09:11:57.019" v="4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021AA3-F101-48AD-A8CF-554801ACB00F}" dt="2024-02-02T09:12:06.567" v="48" actId="20577"/>
          <ac:spMkLst>
            <pc:docMk/>
            <pc:sldMk cId="3064315074" sldId="413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PS)" userId="fd3b2067-2981-4ad8-bf3a-d2e1004e4fa8" providerId="ADAL" clId="{12AB7024-58E6-498F-A5B7-4B04E7DB4731}"/>
    <pc:docChg chg="modSld">
      <pc:chgData name="Weigel Stefan (PAR-EPS)" userId="fd3b2067-2981-4ad8-bf3a-d2e1004e4fa8" providerId="ADAL" clId="{12AB7024-58E6-498F-A5B7-4B04E7DB4731}" dt="2024-02-13T15:49:11.405" v="26" actId="20577"/>
      <pc:docMkLst>
        <pc:docMk/>
      </pc:docMkLst>
      <pc:sldChg chg="modSp mod">
        <pc:chgData name="Weigel Stefan (PAR-EPS)" userId="fd3b2067-2981-4ad8-bf3a-d2e1004e4fa8" providerId="ADAL" clId="{12AB7024-58E6-498F-A5B7-4B04E7DB4731}" dt="2024-02-13T15:49:11.405" v="26" actId="20577"/>
        <pc:sldMkLst>
          <pc:docMk/>
          <pc:sldMk cId="3064315074" sldId="413"/>
        </pc:sldMkLst>
        <pc:spChg chg="mod">
          <ac:chgData name="Weigel Stefan (PAR-EPS)" userId="fd3b2067-2981-4ad8-bf3a-d2e1004e4fa8" providerId="ADAL" clId="{12AB7024-58E6-498F-A5B7-4B04E7DB4731}" dt="2024-02-02T10:31:28.045" v="2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12AB7024-58E6-498F-A5B7-4B04E7DB4731}" dt="2024-02-13T15:49:11.405" v="26" actId="2057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12AB7024-58E6-498F-A5B7-4B04E7DB4731}" dt="2024-02-02T10:31:33.416" v="3"/>
          <ac:spMkLst>
            <pc:docMk/>
            <pc:sldMk cId="3064315074" sldId="413"/>
            <ac:spMk id="12" creationId="{00D4BB6A-0DD0-4B80-9845-0467B947A6BE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S)" userId="fd3b2067-2981-4ad8-bf3a-d2e1004e4fa8" providerId="ADAL" clId="{5C843503-A1E1-438D-989D-5B4429BAA24C}"/>
    <pc:docChg chg="undo custSel modSld">
      <pc:chgData name="Weigel Stefan (PAR-ES)" userId="fd3b2067-2981-4ad8-bf3a-d2e1004e4fa8" providerId="ADAL" clId="{5C843503-A1E1-438D-989D-5B4429BAA24C}" dt="2023-01-31T18:11:43.898" v="45" actId="20577"/>
      <pc:docMkLst>
        <pc:docMk/>
      </pc:docMkLst>
      <pc:sldChg chg="modSp mod">
        <pc:chgData name="Weigel Stefan (PAR-ES)" userId="fd3b2067-2981-4ad8-bf3a-d2e1004e4fa8" providerId="ADAL" clId="{5C843503-A1E1-438D-989D-5B4429BAA24C}" dt="2023-01-31T18:11:43.898" v="45" actId="20577"/>
        <pc:sldMkLst>
          <pc:docMk/>
          <pc:sldMk cId="3064315074" sldId="413"/>
        </pc:sldMkLst>
        <pc:spChg chg="mod">
          <ac:chgData name="Weigel Stefan (PAR-ES)" userId="fd3b2067-2981-4ad8-bf3a-d2e1004e4fa8" providerId="ADAL" clId="{5C843503-A1E1-438D-989D-5B4429BAA24C}" dt="2023-01-31T18:11:43.898" v="45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C843503-A1E1-438D-989D-5B4429BAA24C}" dt="2023-01-31T18:11:29.071" v="43" actId="20577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5C843503-A1E1-438D-989D-5B4429BAA24C}" dt="2023-01-31T18:10:42.681" v="3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8B9B3A73-DD40-4E00-A50C-B0CA06AF5DCC}"/>
    <pc:docChg chg="modSld">
      <pc:chgData name="Weigel Stefan (PAR-EPS)" userId="fd3b2067-2981-4ad8-bf3a-d2e1004e4fa8" providerId="ADAL" clId="{8B9B3A73-DD40-4E00-A50C-B0CA06AF5DCC}" dt="2024-02-28T12:04:41.057" v="2" actId="27918"/>
      <pc:docMkLst>
        <pc:docMk/>
      </pc:docMkLst>
      <pc:sldChg chg="mod">
        <pc:chgData name="Weigel Stefan (PAR-EPS)" userId="fd3b2067-2981-4ad8-bf3a-d2e1004e4fa8" providerId="ADAL" clId="{8B9B3A73-DD40-4E00-A50C-B0CA06AF5DCC}" dt="2024-02-28T12:04:41.057" v="2" actId="27918"/>
        <pc:sldMkLst>
          <pc:docMk/>
          <pc:sldMk cId="3064315074" sldId="413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Treni viaggiatori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FFS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3142118826157994</c:v>
                </c:pt>
                <c:pt idx="1">
                  <c:v>16.3250504907116</c:v>
                </c:pt>
                <c:pt idx="2">
                  <c:v>16.087904558648599</c:v>
                </c:pt>
                <c:pt idx="3">
                  <c:v>26.963614637271998</c:v>
                </c:pt>
                <c:pt idx="4">
                  <c:v>26.795122685533599</c:v>
                </c:pt>
                <c:pt idx="5">
                  <c:v>35.948329827371303</c:v>
                </c:pt>
                <c:pt idx="6">
                  <c:v>40.885322477907202</c:v>
                </c:pt>
                <c:pt idx="7">
                  <c:v>50.249412561272401</c:v>
                </c:pt>
                <c:pt idx="8">
                  <c:v>62.830343658090698</c:v>
                </c:pt>
                <c:pt idx="9">
                  <c:v>66.839797872370497</c:v>
                </c:pt>
                <c:pt idx="10">
                  <c:v>69.770920003732897</c:v>
                </c:pt>
                <c:pt idx="11">
                  <c:v>131.36389886167601</c:v>
                </c:pt>
                <c:pt idx="12">
                  <c:v>137.3251500316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Treni merci</c:v>
                </c:pt>
              </c:strCache>
            </c:strRef>
          </c:tx>
          <c:spPr>
            <a:solidFill>
              <a:srgbClr val="727272"/>
            </a:solidFill>
          </c:spPr>
          <c:invertIfNegative val="0"/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CFR Infrastructură (RO)</c:v>
                </c:pt>
                <c:pt idx="2">
                  <c:v>FTA (FI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ÖBB (AT)</c:v>
                </c:pt>
                <c:pt idx="10">
                  <c:v>DB AG (DE)</c:v>
                </c:pt>
                <c:pt idx="11">
                  <c:v>ProRail (NL)</c:v>
                </c:pt>
                <c:pt idx="12">
                  <c:v>FFS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7.7223439719602798</c:v>
                </c:pt>
                <c:pt idx="1">
                  <c:v>5.8735699675439896</c:v>
                </c:pt>
                <c:pt idx="2">
                  <c:v>6.4581240422764097</c:v>
                </c:pt>
                <c:pt idx="3">
                  <c:v>4.4774258351661702</c:v>
                </c:pt>
                <c:pt idx="4">
                  <c:v>12.283459941328299</c:v>
                </c:pt>
                <c:pt idx="5">
                  <c:v>10.466847510391</c:v>
                </c:pt>
                <c:pt idx="6">
                  <c:v>10.920539159339</c:v>
                </c:pt>
                <c:pt idx="7">
                  <c:v>8.4886647819962793</c:v>
                </c:pt>
                <c:pt idx="8">
                  <c:v>7.1122803165939299</c:v>
                </c:pt>
                <c:pt idx="9">
                  <c:v>25.7655152161431</c:v>
                </c:pt>
                <c:pt idx="10">
                  <c:v>22.986586246359199</c:v>
                </c:pt>
                <c:pt idx="11">
                  <c:v>10.4132562738465</c:v>
                </c:pt>
                <c:pt idx="12">
                  <c:v>23.681387173181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rgbClr val="5A5A5A"/>
            </a:solidFill>
          </a:ln>
        </c:sp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64</cdr:x>
      <cdr:y>0.0141</cdr:y>
    </cdr:from>
    <cdr:to>
      <cdr:x>0.94486</cdr:x>
      <cdr:y>0.0657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10046768" y="63972"/>
          <a:ext cx="1178775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 err="1"/>
            <a:t>Frequenza</a:t>
          </a:r>
          <a:r>
            <a:rPr lang="de-CH" sz="1050" dirty="0"/>
            <a:t> dei treni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fruttamento della rete in Europa nel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34664041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i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de-CH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umero medio di treni per giorno e tratta sull’infrastruttura ferroviaria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846628A1-5B17-4F15-84F0-F68A39C1A6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2f5c8543-cf23-4718-a3b8-32b0a91d511a"/>
    <ds:schemaRef ds:uri="http://purl.org/dc/elements/1.1/"/>
    <ds:schemaRef ds:uri="http://schemas.microsoft.com/office/infopath/2007/PartnerControls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fruttamento della rete in Europa nel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fruttamento della rete in Europa nel 2022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28T12:08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